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0"/>
  </p:notesMasterIdLst>
  <p:handoutMasterIdLst>
    <p:handoutMasterId r:id="rId11"/>
  </p:handoutMasterIdLst>
  <p:sldIdLst>
    <p:sldId id="1277" r:id="rId3"/>
    <p:sldId id="1293" r:id="rId4"/>
    <p:sldId id="1294" r:id="rId5"/>
    <p:sldId id="1296" r:id="rId6"/>
    <p:sldId id="1299" r:id="rId7"/>
    <p:sldId id="1298" r:id="rId8"/>
    <p:sldId id="1300" r:id="rId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299"/>
            <p14:sldId id="1298"/>
            <p14:sldId id="130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D61"/>
    <a:srgbClr val="F2F2F2"/>
    <a:srgbClr val="D31145"/>
    <a:srgbClr val="6A491C"/>
    <a:srgbClr val="00FF00"/>
    <a:srgbClr val="4D7FBC"/>
    <a:srgbClr val="FFF1C2"/>
    <a:srgbClr val="9BBB59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76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9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2</c:v>
                </c:pt>
                <c:pt idx="1">
                  <c:v>64</c:v>
                </c:pt>
                <c:pt idx="2">
                  <c:v>63</c:v>
                </c:pt>
                <c:pt idx="3">
                  <c:v>60</c:v>
                </c:pt>
                <c:pt idx="4">
                  <c:v>68</c:v>
                </c:pt>
                <c:pt idx="5">
                  <c:v>91</c:v>
                </c:pt>
                <c:pt idx="6">
                  <c:v>96</c:v>
                </c:pt>
                <c:pt idx="7">
                  <c:v>101</c:v>
                </c:pt>
                <c:pt idx="8">
                  <c:v>112</c:v>
                </c:pt>
                <c:pt idx="9">
                  <c:v>116</c:v>
                </c:pt>
                <c:pt idx="10">
                  <c:v>114</c:v>
                </c:pt>
                <c:pt idx="11">
                  <c:v>126</c:v>
                </c:pt>
                <c:pt idx="12">
                  <c:v>156</c:v>
                </c:pt>
                <c:pt idx="13">
                  <c:v>162</c:v>
                </c:pt>
                <c:pt idx="14">
                  <c:v>167</c:v>
                </c:pt>
                <c:pt idx="15">
                  <c:v>165</c:v>
                </c:pt>
                <c:pt idx="16">
                  <c:v>180</c:v>
                </c:pt>
                <c:pt idx="17">
                  <c:v>158</c:v>
                </c:pt>
                <c:pt idx="18">
                  <c:v>161</c:v>
                </c:pt>
                <c:pt idx="19">
                  <c:v>180</c:v>
                </c:pt>
                <c:pt idx="20">
                  <c:v>176</c:v>
                </c:pt>
                <c:pt idx="21">
                  <c:v>178</c:v>
                </c:pt>
                <c:pt idx="22">
                  <c:v>180</c:v>
                </c:pt>
                <c:pt idx="23">
                  <c:v>186</c:v>
                </c:pt>
                <c:pt idx="24">
                  <c:v>187</c:v>
                </c:pt>
                <c:pt idx="25">
                  <c:v>196</c:v>
                </c:pt>
                <c:pt idx="26">
                  <c:v>228</c:v>
                </c:pt>
                <c:pt idx="27">
                  <c:v>225</c:v>
                </c:pt>
                <c:pt idx="28">
                  <c:v>252</c:v>
                </c:pt>
                <c:pt idx="29">
                  <c:v>249</c:v>
                </c:pt>
                <c:pt idx="30">
                  <c:v>240</c:v>
                </c:pt>
                <c:pt idx="31">
                  <c:v>229</c:v>
                </c:pt>
                <c:pt idx="32">
                  <c:v>242</c:v>
                </c:pt>
                <c:pt idx="33">
                  <c:v>294</c:v>
                </c:pt>
                <c:pt idx="34">
                  <c:v>296</c:v>
                </c:pt>
                <c:pt idx="35">
                  <c:v>319</c:v>
                </c:pt>
                <c:pt idx="36">
                  <c:v>311</c:v>
                </c:pt>
                <c:pt idx="37">
                  <c:v>337</c:v>
                </c:pt>
                <c:pt idx="38">
                  <c:v>328</c:v>
                </c:pt>
                <c:pt idx="39">
                  <c:v>345</c:v>
                </c:pt>
                <c:pt idx="40">
                  <c:v>420</c:v>
                </c:pt>
                <c:pt idx="41">
                  <c:v>438</c:v>
                </c:pt>
                <c:pt idx="42">
                  <c:v>463</c:v>
                </c:pt>
                <c:pt idx="43">
                  <c:v>487</c:v>
                </c:pt>
                <c:pt idx="44">
                  <c:v>516</c:v>
                </c:pt>
                <c:pt idx="45">
                  <c:v>508</c:v>
                </c:pt>
                <c:pt idx="46">
                  <c:v>532</c:v>
                </c:pt>
                <c:pt idx="47">
                  <c:v>653</c:v>
                </c:pt>
                <c:pt idx="48">
                  <c:v>716</c:v>
                </c:pt>
                <c:pt idx="49">
                  <c:v>785</c:v>
                </c:pt>
                <c:pt idx="50">
                  <c:v>828</c:v>
                </c:pt>
                <c:pt idx="51">
                  <c:v>904</c:v>
                </c:pt>
                <c:pt idx="52">
                  <c:v>915</c:v>
                </c:pt>
                <c:pt idx="53">
                  <c:v>975</c:v>
                </c:pt>
                <c:pt idx="54">
                  <c:v>1153</c:v>
                </c:pt>
                <c:pt idx="55">
                  <c:v>1268</c:v>
                </c:pt>
                <c:pt idx="56">
                  <c:v>1365</c:v>
                </c:pt>
                <c:pt idx="57">
                  <c:v>1360</c:v>
                </c:pt>
                <c:pt idx="58">
                  <c:v>1529</c:v>
                </c:pt>
                <c:pt idx="59">
                  <c:v>1543</c:v>
                </c:pt>
                <c:pt idx="60">
                  <c:v>1670</c:v>
                </c:pt>
                <c:pt idx="61">
                  <c:v>1982</c:v>
                </c:pt>
                <c:pt idx="62">
                  <c:v>2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5</c:v>
                </c:pt>
                <c:pt idx="17">
                  <c:v>42</c:v>
                </c:pt>
                <c:pt idx="18">
                  <c:v>39</c:v>
                </c:pt>
                <c:pt idx="19">
                  <c:v>41</c:v>
                </c:pt>
                <c:pt idx="20">
                  <c:v>39</c:v>
                </c:pt>
                <c:pt idx="21">
                  <c:v>37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3</c:v>
                </c:pt>
                <c:pt idx="32">
                  <c:v>50</c:v>
                </c:pt>
                <c:pt idx="33">
                  <c:v>56</c:v>
                </c:pt>
                <c:pt idx="34">
                  <c:v>70</c:v>
                </c:pt>
                <c:pt idx="35">
                  <c:v>84</c:v>
                </c:pt>
                <c:pt idx="36">
                  <c:v>74</c:v>
                </c:pt>
                <c:pt idx="37">
                  <c:v>77</c:v>
                </c:pt>
                <c:pt idx="38">
                  <c:v>76</c:v>
                </c:pt>
                <c:pt idx="39">
                  <c:v>76</c:v>
                </c:pt>
                <c:pt idx="40">
                  <c:v>98</c:v>
                </c:pt>
                <c:pt idx="41">
                  <c:v>111</c:v>
                </c:pt>
                <c:pt idx="42">
                  <c:v>112</c:v>
                </c:pt>
                <c:pt idx="43">
                  <c:v>114</c:v>
                </c:pt>
                <c:pt idx="44">
                  <c:v>113</c:v>
                </c:pt>
                <c:pt idx="45">
                  <c:v>109</c:v>
                </c:pt>
                <c:pt idx="46">
                  <c:v>113</c:v>
                </c:pt>
                <c:pt idx="47">
                  <c:v>130</c:v>
                </c:pt>
                <c:pt idx="48">
                  <c:v>143</c:v>
                </c:pt>
                <c:pt idx="49">
                  <c:v>136</c:v>
                </c:pt>
                <c:pt idx="50">
                  <c:v>140</c:v>
                </c:pt>
                <c:pt idx="51">
                  <c:v>149</c:v>
                </c:pt>
                <c:pt idx="52">
                  <c:v>149</c:v>
                </c:pt>
                <c:pt idx="53">
                  <c:v>160</c:v>
                </c:pt>
                <c:pt idx="54">
                  <c:v>169</c:v>
                </c:pt>
                <c:pt idx="55">
                  <c:v>192</c:v>
                </c:pt>
                <c:pt idx="56">
                  <c:v>208</c:v>
                </c:pt>
                <c:pt idx="57">
                  <c:v>202</c:v>
                </c:pt>
                <c:pt idx="58">
                  <c:v>230</c:v>
                </c:pt>
                <c:pt idx="59">
                  <c:v>235</c:v>
                </c:pt>
                <c:pt idx="60">
                  <c:v>260</c:v>
                </c:pt>
                <c:pt idx="61">
                  <c:v>301</c:v>
                </c:pt>
                <c:pt idx="62">
                  <c:v>2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5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5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NUL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873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672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chart" Target="../charts/chart2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5</a:t>
            </a:r>
            <a:r>
              <a:rPr lang="cs-CZ" b="1" dirty="0" smtClean="0"/>
              <a:t>. </a:t>
            </a:r>
            <a:r>
              <a:rPr lang="cs-CZ" b="1" dirty="0" smtClean="0"/>
              <a:t>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akutní lůžka C+ pacienty k </a:t>
            </a:r>
          </a:p>
          <a:p>
            <a:pPr algn="ctr"/>
            <a:r>
              <a:rPr lang="cs-CZ" b="1" dirty="0"/>
              <a:t>5</a:t>
            </a:r>
            <a:r>
              <a:rPr lang="cs-CZ" b="1" dirty="0" smtClean="0"/>
              <a:t>.11.2021 </a:t>
            </a:r>
            <a:r>
              <a:rPr lang="cs-CZ" b="1" dirty="0" smtClean="0"/>
              <a:t>00:3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335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4310200"/>
              </p:ext>
            </p:extLst>
          </p:nvPr>
        </p:nvGraphicFramePr>
        <p:xfrm>
          <a:off x="332817" y="1006763"/>
          <a:ext cx="8866600" cy="5245572"/>
        </p:xfrm>
        <a:graphic>
          <a:graphicData uri="http://schemas.openxmlformats.org/drawingml/2006/table">
            <a:tbl>
              <a:tblPr/>
              <a:tblGrid>
                <a:gridCol w="2362133">
                  <a:extLst>
                    <a:ext uri="{9D8B030D-6E8A-4147-A177-3AD203B41FA5}">
                      <a16:colId xmlns:a16="http://schemas.microsoft.com/office/drawing/2014/main" val="1065786506"/>
                    </a:ext>
                  </a:extLst>
                </a:gridCol>
                <a:gridCol w="1345321">
                  <a:extLst>
                    <a:ext uri="{9D8B030D-6E8A-4147-A177-3AD203B41FA5}">
                      <a16:colId xmlns:a16="http://schemas.microsoft.com/office/drawing/2014/main" val="2068858452"/>
                    </a:ext>
                  </a:extLst>
                </a:gridCol>
                <a:gridCol w="1329677">
                  <a:extLst>
                    <a:ext uri="{9D8B030D-6E8A-4147-A177-3AD203B41FA5}">
                      <a16:colId xmlns:a16="http://schemas.microsoft.com/office/drawing/2014/main" val="2280698253"/>
                    </a:ext>
                  </a:extLst>
                </a:gridCol>
                <a:gridCol w="1329677">
                  <a:extLst>
                    <a:ext uri="{9D8B030D-6E8A-4147-A177-3AD203B41FA5}">
                      <a16:colId xmlns:a16="http://schemas.microsoft.com/office/drawing/2014/main" val="1540186107"/>
                    </a:ext>
                  </a:extLst>
                </a:gridCol>
                <a:gridCol w="1392250">
                  <a:extLst>
                    <a:ext uri="{9D8B030D-6E8A-4147-A177-3AD203B41FA5}">
                      <a16:colId xmlns:a16="http://schemas.microsoft.com/office/drawing/2014/main" val="317141941"/>
                    </a:ext>
                  </a:extLst>
                </a:gridCol>
                <a:gridCol w="1107542">
                  <a:extLst>
                    <a:ext uri="{9D8B030D-6E8A-4147-A177-3AD203B41FA5}">
                      <a16:colId xmlns:a16="http://schemas.microsoft.com/office/drawing/2014/main" val="1363910729"/>
                    </a:ext>
                  </a:extLst>
                </a:gridCol>
              </a:tblGrid>
              <a:tr h="21446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0330294"/>
                  </a:ext>
                </a:extLst>
              </a:tr>
              <a:tr h="21446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5.11. 2021, 12:00h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02901"/>
                  </a:ext>
                </a:extLst>
              </a:tr>
              <a:tr h="17770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2201091"/>
                  </a:ext>
                </a:extLst>
              </a:tr>
              <a:tr h="18995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3701789"/>
                  </a:ext>
                </a:extLst>
              </a:tr>
              <a:tr h="74144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318182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1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27347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8689647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6874160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5653040"/>
                  </a:ext>
                </a:extLst>
              </a:tr>
              <a:tr h="1914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3012908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005784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09533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075434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700260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5298338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432543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135919"/>
                  </a:ext>
                </a:extLst>
              </a:tr>
              <a:tr h="1838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964192"/>
                  </a:ext>
                </a:extLst>
              </a:tr>
              <a:tr h="2068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7157919"/>
                  </a:ext>
                </a:extLst>
              </a:tr>
              <a:tr h="1991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4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3672928"/>
                  </a:ext>
                </a:extLst>
              </a:tr>
              <a:tr h="26042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0709478"/>
                  </a:ext>
                </a:extLst>
              </a:tr>
              <a:tr h="17770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2059816"/>
                  </a:ext>
                </a:extLst>
              </a:tr>
              <a:tr h="20680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519289"/>
                  </a:ext>
                </a:extLst>
              </a:tr>
              <a:tr h="18382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0425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9614817"/>
              </p:ext>
            </p:extLst>
          </p:nvPr>
        </p:nvGraphicFramePr>
        <p:xfrm>
          <a:off x="332818" y="896492"/>
          <a:ext cx="8245546" cy="5340528"/>
        </p:xfrm>
        <a:graphic>
          <a:graphicData uri="http://schemas.openxmlformats.org/drawingml/2006/table">
            <a:tbl>
              <a:tblPr/>
              <a:tblGrid>
                <a:gridCol w="2196679">
                  <a:extLst>
                    <a:ext uri="{9D8B030D-6E8A-4147-A177-3AD203B41FA5}">
                      <a16:colId xmlns:a16="http://schemas.microsoft.com/office/drawing/2014/main" val="1420945841"/>
                    </a:ext>
                  </a:extLst>
                </a:gridCol>
                <a:gridCol w="1251088">
                  <a:extLst>
                    <a:ext uri="{9D8B030D-6E8A-4147-A177-3AD203B41FA5}">
                      <a16:colId xmlns:a16="http://schemas.microsoft.com/office/drawing/2014/main" val="984819856"/>
                    </a:ext>
                  </a:extLst>
                </a:gridCol>
                <a:gridCol w="1236541">
                  <a:extLst>
                    <a:ext uri="{9D8B030D-6E8A-4147-A177-3AD203B41FA5}">
                      <a16:colId xmlns:a16="http://schemas.microsoft.com/office/drawing/2014/main" val="647680966"/>
                    </a:ext>
                  </a:extLst>
                </a:gridCol>
                <a:gridCol w="1236541">
                  <a:extLst>
                    <a:ext uri="{9D8B030D-6E8A-4147-A177-3AD203B41FA5}">
                      <a16:colId xmlns:a16="http://schemas.microsoft.com/office/drawing/2014/main" val="1962444840"/>
                    </a:ext>
                  </a:extLst>
                </a:gridCol>
                <a:gridCol w="1294731">
                  <a:extLst>
                    <a:ext uri="{9D8B030D-6E8A-4147-A177-3AD203B41FA5}">
                      <a16:colId xmlns:a16="http://schemas.microsoft.com/office/drawing/2014/main" val="3437913271"/>
                    </a:ext>
                  </a:extLst>
                </a:gridCol>
                <a:gridCol w="1029966">
                  <a:extLst>
                    <a:ext uri="{9D8B030D-6E8A-4147-A177-3AD203B41FA5}">
                      <a16:colId xmlns:a16="http://schemas.microsoft.com/office/drawing/2014/main" val="1791248400"/>
                    </a:ext>
                  </a:extLst>
                </a:gridCol>
              </a:tblGrid>
              <a:tr h="2094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5570141"/>
                  </a:ext>
                </a:extLst>
              </a:tr>
              <a:tr h="215762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5.11. 2021,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2372936"/>
                  </a:ext>
                </a:extLst>
              </a:tr>
              <a:tr h="191103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7486894"/>
                  </a:ext>
                </a:extLst>
              </a:tr>
              <a:tr h="1911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946662"/>
                  </a:ext>
                </a:extLst>
              </a:tr>
              <a:tr h="74592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597796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6979743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763802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14496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7481506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892698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267071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3082348"/>
                  </a:ext>
                </a:extLst>
              </a:tr>
              <a:tr h="1926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5802933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9897877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2137373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8251850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3988091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586681"/>
                  </a:ext>
                </a:extLst>
              </a:tr>
              <a:tr h="1911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1871446"/>
                  </a:ext>
                </a:extLst>
              </a:tr>
              <a:tr h="2080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83" marR="5083" marT="50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83" marR="5083" marT="50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346961"/>
                  </a:ext>
                </a:extLst>
              </a:tr>
              <a:tr h="18493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450861"/>
                  </a:ext>
                </a:extLst>
              </a:tr>
              <a:tr h="178775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4693610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20382"/>
                  </a:ext>
                </a:extLst>
              </a:tr>
              <a:tr h="18493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312797"/>
                  </a:ext>
                </a:extLst>
              </a:tr>
              <a:tr h="18493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3" marR="5083" marT="508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84338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486005" y="2147496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5.11.2021 </a:t>
            </a:r>
            <a:r>
              <a:rPr lang="cs-CZ" b="1" dirty="0" smtClean="0"/>
              <a:t>00:3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2154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645161" y="4001514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374717"/>
              </p:ext>
            </p:extLst>
          </p:nvPr>
        </p:nvGraphicFramePr>
        <p:xfrm>
          <a:off x="332818" y="988287"/>
          <a:ext cx="8720147" cy="5206215"/>
        </p:xfrm>
        <a:graphic>
          <a:graphicData uri="http://schemas.openxmlformats.org/drawingml/2006/table">
            <a:tbl>
              <a:tblPr/>
              <a:tblGrid>
                <a:gridCol w="2006006">
                  <a:extLst>
                    <a:ext uri="{9D8B030D-6E8A-4147-A177-3AD203B41FA5}">
                      <a16:colId xmlns:a16="http://schemas.microsoft.com/office/drawing/2014/main" val="1273513640"/>
                    </a:ext>
                  </a:extLst>
                </a:gridCol>
                <a:gridCol w="1142493">
                  <a:extLst>
                    <a:ext uri="{9D8B030D-6E8A-4147-A177-3AD203B41FA5}">
                      <a16:colId xmlns:a16="http://schemas.microsoft.com/office/drawing/2014/main" val="1725844903"/>
                    </a:ext>
                  </a:extLst>
                </a:gridCol>
                <a:gridCol w="1129209">
                  <a:extLst>
                    <a:ext uri="{9D8B030D-6E8A-4147-A177-3AD203B41FA5}">
                      <a16:colId xmlns:a16="http://schemas.microsoft.com/office/drawing/2014/main" val="2736288322"/>
                    </a:ext>
                  </a:extLst>
                </a:gridCol>
                <a:gridCol w="1129209">
                  <a:extLst>
                    <a:ext uri="{9D8B030D-6E8A-4147-A177-3AD203B41FA5}">
                      <a16:colId xmlns:a16="http://schemas.microsoft.com/office/drawing/2014/main" val="279502529"/>
                    </a:ext>
                  </a:extLst>
                </a:gridCol>
                <a:gridCol w="1182347">
                  <a:extLst>
                    <a:ext uri="{9D8B030D-6E8A-4147-A177-3AD203B41FA5}">
                      <a16:colId xmlns:a16="http://schemas.microsoft.com/office/drawing/2014/main" val="2155473504"/>
                    </a:ext>
                  </a:extLst>
                </a:gridCol>
                <a:gridCol w="1182347">
                  <a:extLst>
                    <a:ext uri="{9D8B030D-6E8A-4147-A177-3AD203B41FA5}">
                      <a16:colId xmlns:a16="http://schemas.microsoft.com/office/drawing/2014/main" val="695899369"/>
                    </a:ext>
                  </a:extLst>
                </a:gridCol>
                <a:gridCol w="948536">
                  <a:extLst>
                    <a:ext uri="{9D8B030D-6E8A-4147-A177-3AD203B41FA5}">
                      <a16:colId xmlns:a16="http://schemas.microsoft.com/office/drawing/2014/main" val="3851495314"/>
                    </a:ext>
                  </a:extLst>
                </a:gridCol>
              </a:tblGrid>
              <a:tr h="218938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a ne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308065"/>
                  </a:ext>
                </a:extLst>
              </a:tr>
              <a:tr h="21893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5.11. 2021,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4101308"/>
                  </a:ext>
                </a:extLst>
              </a:tr>
              <a:tr h="1939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2824233"/>
                  </a:ext>
                </a:extLst>
              </a:tr>
              <a:tr h="21893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na Infekčním oddělení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230435"/>
                  </a:ext>
                </a:extLst>
              </a:tr>
              <a:tr h="56923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81815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1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748183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0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453113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849435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684768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620992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806116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2631533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402371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718387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357969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2642128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783480"/>
                  </a:ext>
                </a:extLst>
              </a:tr>
              <a:tr h="1876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503274"/>
                  </a:ext>
                </a:extLst>
              </a:tr>
              <a:tr h="1939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7935527"/>
                  </a:ext>
                </a:extLst>
              </a:tr>
              <a:tr h="2111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03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28230"/>
                  </a:ext>
                </a:extLst>
              </a:tr>
              <a:tr h="187662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7586895"/>
                  </a:ext>
                </a:extLst>
              </a:tr>
              <a:tr h="187604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8428395"/>
                  </a:ext>
                </a:extLst>
              </a:tr>
              <a:tr h="36895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0843376"/>
                  </a:ext>
                </a:extLst>
              </a:tr>
              <a:tr h="18766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679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</a:t>
            </a:r>
            <a:r>
              <a:rPr lang="cs-CZ" sz="1800" dirty="0" smtClean="0"/>
              <a:t>hospitalizací C+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83C82BBE-A834-4C36-BECC-96F860D2833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3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66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7307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</a:t>
            </a:r>
            <a:r>
              <a:rPr lang="cs-CZ" sz="1800" dirty="0" smtClean="0"/>
              <a:t>C+ pacientů </a:t>
            </a:r>
            <a:r>
              <a:rPr lang="cs-CZ" sz="1800" dirty="0"/>
              <a:t>na </a:t>
            </a:r>
            <a:r>
              <a:rPr lang="cs-CZ" sz="1800" dirty="0" smtClean="0"/>
              <a:t>JIP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62D7FBC8-3764-4B37-9E31-1C9E305D1EB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20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5648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07769" y="3163669"/>
            <a:ext cx="22068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5.11</a:t>
            </a:r>
            <a:r>
              <a:rPr lang="cs-CZ" dirty="0" smtClean="0">
                <a:solidFill>
                  <a:srgbClr val="FF0000"/>
                </a:solidFill>
              </a:rPr>
              <a:t>. 2021 </a:t>
            </a:r>
            <a:r>
              <a:rPr lang="cs-CZ" dirty="0" smtClean="0">
                <a:solidFill>
                  <a:srgbClr val="FF0000"/>
                </a:solidFill>
              </a:rPr>
              <a:t>11:05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8" name="Tabulka 7"/>
          <p:cNvGraphicFramePr>
            <a:graphicFrameLocks noGrp="1"/>
          </p:cNvGraphicFramePr>
          <p:nvPr/>
        </p:nvGraphicFramePr>
        <p:xfrm>
          <a:off x="1259254" y="1133886"/>
          <a:ext cx="6952762" cy="4782450"/>
        </p:xfrm>
        <a:graphic>
          <a:graphicData uri="http://schemas.openxmlformats.org/drawingml/2006/table">
            <a:tbl>
              <a:tblPr/>
              <a:tblGrid>
                <a:gridCol w="3865675">
                  <a:extLst>
                    <a:ext uri="{9D8B030D-6E8A-4147-A177-3AD203B41FA5}">
                      <a16:colId xmlns:a16="http://schemas.microsoft.com/office/drawing/2014/main" val="3683644295"/>
                    </a:ext>
                  </a:extLst>
                </a:gridCol>
                <a:gridCol w="922622">
                  <a:extLst>
                    <a:ext uri="{9D8B030D-6E8A-4147-A177-3AD203B41FA5}">
                      <a16:colId xmlns:a16="http://schemas.microsoft.com/office/drawing/2014/main" val="2708748755"/>
                    </a:ext>
                  </a:extLst>
                </a:gridCol>
                <a:gridCol w="2164465">
                  <a:extLst>
                    <a:ext uri="{9D8B030D-6E8A-4147-A177-3AD203B41FA5}">
                      <a16:colId xmlns:a16="http://schemas.microsoft.com/office/drawing/2014/main" val="2310019515"/>
                    </a:ext>
                  </a:extLst>
                </a:gridCol>
              </a:tblGrid>
              <a:tr h="268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803969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todská nemocnice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22.10.2021 7: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5932580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25.10.2021 11: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668399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a Františku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1.11.2021 0: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817158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pt-BR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. Pardubického kraje, a.s., Svitavská nem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1.11.2021 12: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3709419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S PLUS s.r.o., Nemocnice Ostro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1.11.2021 23: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9022066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Havlíčkův Brod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6: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8625640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Český Krumlov,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7: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626471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vní privátní chirurgické centrum, spol. s 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7: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7079847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ská nemocnice Liberec, a.s., Nemocnice Turno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9: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7766900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C Klinika Zlín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10: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457793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10: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1256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18300</TotalTime>
  <Words>1116</Words>
  <Application>Microsoft Office PowerPoint</Application>
  <PresentationFormat>Širokoúhlá obrazovka</PresentationFormat>
  <Paragraphs>497</Paragraphs>
  <Slides>7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7</vt:i4>
      </vt:variant>
    </vt:vector>
  </HeadingPairs>
  <TitlesOfParts>
    <vt:vector size="14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Predikce celkového počtu hospitalizací C+</vt:lpstr>
      <vt:lpstr>Predikce počtu C+ pacientů na JIP</vt:lpstr>
      <vt:lpstr>Seznam nemocnic neaktualizovaných déle než 48 h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371</cp:revision>
  <cp:lastPrinted>2020-10-20T04:21:56Z</cp:lastPrinted>
  <dcterms:created xsi:type="dcterms:W3CDTF">2020-07-15T10:33:32Z</dcterms:created>
  <dcterms:modified xsi:type="dcterms:W3CDTF">2021-11-05T10:52:36Z</dcterms:modified>
</cp:coreProperties>
</file>